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
  </p:notesMasterIdLst>
  <p:sldIdLst>
    <p:sldId id="256" r:id="rId2"/>
    <p:sldId id="257" r:id="rId3"/>
    <p:sldId id="258" r:id="rId4"/>
    <p:sldId id="259" r:id="rId5"/>
    <p:sldId id="260" r:id="rId6"/>
    <p:sldId id="261" r:id="rId7"/>
    <p:sldId id="264" r:id="rId8"/>
    <p:sldId id="263" r:id="rId9"/>
    <p:sldId id="265" r:id="rId10"/>
    <p:sldId id="267" r:id="rId11"/>
    <p:sldId id="262" r:id="rId12"/>
    <p:sldId id="268"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6"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48B91"/>
    <a:srgbClr val="DDC855"/>
    <a:srgbClr val="4E9191"/>
    <a:srgbClr val="F7743C"/>
    <a:srgbClr val="E1FF6D"/>
    <a:srgbClr val="7E9E83"/>
    <a:srgbClr val="7D9E7F"/>
    <a:srgbClr val="4F9396"/>
    <a:srgbClr val="0E0E07"/>
    <a:srgbClr val="1616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48" autoAdjust="0"/>
    <p:restoredTop sz="92970" autoAdjust="0"/>
  </p:normalViewPr>
  <p:slideViewPr>
    <p:cSldViewPr snapToGrid="0">
      <p:cViewPr varScale="1">
        <p:scale>
          <a:sx n="66" d="100"/>
          <a:sy n="66" d="100"/>
        </p:scale>
        <p:origin x="72" y="6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dLblPos val="t"/>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47" y="2200"/>
    <p:text>different time marks have different technological achievment because they overcome hardware infrastructure limitations</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3/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039714839"/>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416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4686"/>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1286051941"/>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2543</TotalTime>
  <Words>480</Words>
  <Application>Microsoft Office PowerPoint</Application>
  <PresentationFormat>Widescreen</PresentationFormat>
  <Paragraphs>98</Paragraphs>
  <Slides>12</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2</vt:i4>
      </vt:variant>
    </vt:vector>
  </HeadingPairs>
  <TitlesOfParts>
    <vt:vector size="20" baseType="lpstr">
      <vt:lpstr>Arial</vt:lpstr>
      <vt:lpstr>Arimo</vt:lpstr>
      <vt:lpstr>Calibri</vt:lpstr>
      <vt:lpstr>icomoon</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rogramming behind everyth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159</cp:revision>
  <dcterms:created xsi:type="dcterms:W3CDTF">2021-12-20T17:41:23Z</dcterms:created>
  <dcterms:modified xsi:type="dcterms:W3CDTF">2021-12-23T15:38:40Z</dcterms:modified>
</cp:coreProperties>
</file>